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2" r:id="rId6"/>
    <p:sldId id="268" r:id="rId7"/>
    <p:sldId id="267" r:id="rId8"/>
    <p:sldId id="265" r:id="rId9"/>
    <p:sldId id="270" r:id="rId10"/>
    <p:sldId id="272" r:id="rId11"/>
    <p:sldId id="269" r:id="rId12"/>
    <p:sldId id="271" r:id="rId13"/>
    <p:sldId id="273" r:id="rId14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9F7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453" y="5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1F6745-1279-40C0-B6C6-7F745701D3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DD0A7B8-8F4C-4543-A2EE-75C2D7F489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5157AD-535E-4347-8239-8506D6E94F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19E1B-D63D-45AA-B638-E5733995346F}" type="datetimeFigureOut">
              <a:rPr lang="en-US" smtClean="0"/>
              <a:t>12/10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8CF2B5-E40D-400C-B1EC-D00B82DCF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9857F9-4B0D-4A5C-8C0A-5FC7B2F24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62145-7CC1-4769-90AE-4AD723AE4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8855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091D3B-42A9-42F6-B418-D83F0D168D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4100105-76E4-443E-9BC9-7A196DE5C9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81AD1B-1DC0-4130-B4AE-C54889AE1B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19E1B-D63D-45AA-B638-E5733995346F}" type="datetimeFigureOut">
              <a:rPr lang="en-US" smtClean="0"/>
              <a:t>12/10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BA543A-684F-4F91-B465-03620BD8A7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DC6C5C-0F3C-46BD-894F-927E181604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62145-7CC1-4769-90AE-4AD723AE4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7719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784CE9-112D-4937-847D-45D48A265EA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795E802-E670-49FA-9CEC-B05FD08DFFE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D77092-885B-4DC0-BB16-D0A65EDAEA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19E1B-D63D-45AA-B638-E5733995346F}" type="datetimeFigureOut">
              <a:rPr lang="en-US" smtClean="0"/>
              <a:t>12/10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E4B8D0-B49F-45C4-938B-5DC903880B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419B2D-16BB-40E7-A20A-DDE29CBBEB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62145-7CC1-4769-90AE-4AD723AE4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4990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DCAE2A-E0C0-42CC-B383-BAE496B5B3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697FF7-B804-4028-9CB0-1CCF193A52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24CCA7-6CF3-4008-AF19-EAF43B0232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19E1B-D63D-45AA-B638-E5733995346F}" type="datetimeFigureOut">
              <a:rPr lang="en-US" smtClean="0"/>
              <a:t>12/10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9C0973-AE13-4DC7-9B45-82D8328FEF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7ADC9D-A816-4EA3-8780-B2B2B81DB5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62145-7CC1-4769-90AE-4AD723AE4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13740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CA804A-9D0A-41FE-A1BE-C9880BE27D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C5769B-0B4F-46C6-BBD2-3AF9BB1CD7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6AD72-55C6-4F69-AF13-8926FBB6C4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19E1B-D63D-45AA-B638-E5733995346F}" type="datetimeFigureOut">
              <a:rPr lang="en-US" smtClean="0"/>
              <a:t>12/10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69F375-9564-4121-9C2E-4CB85DDFA8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A16DF3-F1C9-495A-95EF-ADBB44855C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62145-7CC1-4769-90AE-4AD723AE4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8021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520C4B-87B8-4B44-B376-26B388DB18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3C606E-9342-4E92-9983-5DC5E9EB9A9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4133EE-9EB9-4D94-8F55-C78C9C9063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BD6E04-7F1A-4082-9FBF-2A43122B33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19E1B-D63D-45AA-B638-E5733995346F}" type="datetimeFigureOut">
              <a:rPr lang="en-US" smtClean="0"/>
              <a:t>12/10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A70ADA-3778-4290-9CF4-22BB27D73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E49A5B-FCA7-4FED-AB53-B6F88BC860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62145-7CC1-4769-90AE-4AD723AE4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0422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57EC06-E523-44DD-81BD-CD99AF2E75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250CA0-C844-44E6-AD08-5BE973B79E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5B732C-6167-460E-B14D-7AA60568FC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7B482E-0D65-42A9-BE90-62B3C5CD8EA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FD3F28-4D31-4E70-BA00-0DC1F2CD5EE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5A23E71-2F63-4B0F-A39C-84C29DF86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19E1B-D63D-45AA-B638-E5733995346F}" type="datetimeFigureOut">
              <a:rPr lang="en-US" smtClean="0"/>
              <a:t>12/10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DCDB049-DE38-4782-9407-10316D134B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8BA277-DEE8-4E96-9624-18B5508BA3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62145-7CC1-4769-90AE-4AD723AE4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1287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DCB06D-DACA-41FB-B6F9-E01114FF6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862C44-17A3-4ABD-9D86-F1E266B1E6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19E1B-D63D-45AA-B638-E5733995346F}" type="datetimeFigureOut">
              <a:rPr lang="en-US" smtClean="0"/>
              <a:t>12/10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3BA70C-F388-4FBA-9803-12277921FA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CF6701-0464-4894-BFD1-3DFFAC16E3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62145-7CC1-4769-90AE-4AD723AE4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4569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4A67290-DFBA-48F6-8B55-20FB0B4079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19E1B-D63D-45AA-B638-E5733995346F}" type="datetimeFigureOut">
              <a:rPr lang="en-US" smtClean="0"/>
              <a:t>12/10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409A67A-D6BE-473E-8140-30264272D6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899108-C8CF-46F9-BF2F-74F9A95654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62145-7CC1-4769-90AE-4AD723AE4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0556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6034FC-202F-433B-88AA-ED5A0F124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D9B03F-F7BB-4EAA-84BB-203FBEC25B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92E022-16EA-46F9-A94D-B780585A16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1E263F-E866-4A3A-B087-345EB01834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19E1B-D63D-45AA-B638-E5733995346F}" type="datetimeFigureOut">
              <a:rPr lang="en-US" smtClean="0"/>
              <a:t>12/10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63DCB3-C4F9-432B-B37E-E7504ABDC2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A35FDF-BE20-42B5-BB96-D8A9FF5AD3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62145-7CC1-4769-90AE-4AD723AE4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070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7E347-1A30-4C11-BCB5-954634D3F6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881D15A-8FD2-4EE2-A9B5-7472919B4DA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9FFB73-76F6-4956-969D-8AF31B0980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897B27-7D1F-485D-8FE6-F9F02C747C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19E1B-D63D-45AA-B638-E5733995346F}" type="datetimeFigureOut">
              <a:rPr lang="en-US" smtClean="0"/>
              <a:t>12/10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6B361FD-7EF3-4665-B576-B4F1F8E33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64A620-8106-402E-BF92-AE76A9CEE7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62145-7CC1-4769-90AE-4AD723AE4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525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E9F9448-A5D6-49FC-B1DE-B22DFEDF8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1343B8-AFBC-4E06-8432-75F14BDC86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FD3F9C-7C90-4826-B358-9142CAF2FB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A19E1B-D63D-45AA-B638-E5733995346F}" type="datetimeFigureOut">
              <a:rPr lang="en-US" smtClean="0"/>
              <a:t>12/10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88BDE1-6B80-47F1-9748-F557645EE7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8BCC73-6B10-446C-974E-508389039E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762145-7CC1-4769-90AE-4AD723AE4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6369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9.xml"/><Relationship Id="rId7" Type="http://schemas.openxmlformats.org/officeDocument/2006/relationships/hyperlink" Target="http://6843523c.ngrok.io/api-explorer/#/Projects/get_projects__lat___lon___radio_" TargetMode="Externa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6.xml"/><Relationship Id="rId7" Type="http://schemas.openxmlformats.org/officeDocument/2006/relationships/hyperlink" Target="https://talkbot.io/" TargetMode="Externa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6.bin"/><Relationship Id="rId9" Type="http://schemas.openxmlformats.org/officeDocument/2006/relationships/hyperlink" Target="https://www.facebook.com/Auditor&#237;a-Social-1219164281582731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7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6D4539-5AC9-4AEA-918F-443CBB1989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6027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B7F79E-7E3A-4FC6-B69D-178C5D5211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MX" sz="7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B0B905B-47B7-49BA-B76D-7985452BC90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" y="137840"/>
            <a:ext cx="9383487" cy="67201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BD46CA5-D16C-4493-AF28-E9DD8141B1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42845" y="2213516"/>
            <a:ext cx="9144000" cy="2387600"/>
          </a:xfrm>
        </p:spPr>
        <p:txBody>
          <a:bodyPr>
            <a:normAutofit/>
          </a:bodyPr>
          <a:lstStyle/>
          <a:p>
            <a:r>
              <a:rPr lang="es-MX" sz="7000" dirty="0"/>
              <a:t>Auditoría Social</a:t>
            </a:r>
            <a:endParaRPr lang="en-US" sz="70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57136E-91F7-4494-B378-9278516A0E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42845" y="4693191"/>
            <a:ext cx="9144000" cy="1655762"/>
          </a:xfrm>
        </p:spPr>
        <p:txBody>
          <a:bodyPr>
            <a:normAutofit/>
          </a:bodyPr>
          <a:lstStyle/>
          <a:p>
            <a:r>
              <a:rPr lang="es-MX" sz="3600" i="1" dirty="0"/>
              <a:t>#</a:t>
            </a:r>
            <a:r>
              <a:rPr lang="es-MX" sz="3600" i="1" dirty="0" err="1"/>
              <a:t>datatonanticorrupción</a:t>
            </a:r>
            <a:endParaRPr lang="en-US" sz="3600" i="1" dirty="0"/>
          </a:p>
        </p:txBody>
      </p:sp>
      <p:pic>
        <p:nvPicPr>
          <p:cNvPr id="1031" name="Picture 7" descr="Image result for xamarin logo">
            <a:extLst>
              <a:ext uri="{FF2B5EF4-FFF2-40B4-BE49-F238E27FC236}">
                <a16:creationId xmlns:a16="http://schemas.microsoft.com/office/drawing/2014/main" id="{822CE9FB-A7DB-49E5-BC98-AA8D60349F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5112604" y="3699640"/>
            <a:ext cx="841034" cy="748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56971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0CB9FE-2EFA-4841-B17A-5767934439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6746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0893B7BF-FC57-4C2A-96E3-C8AE9D63231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MX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3364F6-C028-41DD-8408-0ADA98115A1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1093"/>
            <a:ext cx="12192000" cy="6615814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18FFC67-A412-4607-8E71-B5AE8DB72A52}"/>
              </a:ext>
            </a:extLst>
          </p:cNvPr>
          <p:cNvCxnSpPr>
            <a:cxnSpLocks/>
          </p:cNvCxnSpPr>
          <p:nvPr/>
        </p:nvCxnSpPr>
        <p:spPr>
          <a:xfrm>
            <a:off x="10600841" y="2424514"/>
            <a:ext cx="0" cy="862093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ADFF5E5-6A82-48A1-AC6D-5ECF9DB61A31}"/>
              </a:ext>
            </a:extLst>
          </p:cNvPr>
          <p:cNvCxnSpPr>
            <a:cxnSpLocks/>
          </p:cNvCxnSpPr>
          <p:nvPr/>
        </p:nvCxnSpPr>
        <p:spPr>
          <a:xfrm>
            <a:off x="7299701" y="2958238"/>
            <a:ext cx="0" cy="470762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CEACDBF-0787-4F7A-8B80-54C3C7EDDC36}"/>
              </a:ext>
            </a:extLst>
          </p:cNvPr>
          <p:cNvCxnSpPr>
            <a:cxnSpLocks/>
          </p:cNvCxnSpPr>
          <p:nvPr/>
        </p:nvCxnSpPr>
        <p:spPr>
          <a:xfrm>
            <a:off x="8658824" y="4585560"/>
            <a:ext cx="768873" cy="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1196C42F-D365-47DB-AF85-736F22910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743" y="-52760"/>
            <a:ext cx="10515600" cy="1325563"/>
          </a:xfrm>
        </p:spPr>
        <p:txBody>
          <a:bodyPr/>
          <a:lstStyle/>
          <a:p>
            <a:r>
              <a:rPr lang="es-MX" dirty="0"/>
              <a:t>Arquitectur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64984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20B4A24-BC7E-462F-A767-02DD44F39D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4420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4C180CE-F7D0-438F-9FCE-E10CC5BAC7D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MX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336D88-EF0B-498F-9EBC-F9F119E9D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667004"/>
            <a:r>
              <a:rPr lang="es-MX" dirty="0"/>
              <a:t>API pública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EB4873-5C76-4B3B-A595-3571C52F49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87086"/>
            <a:ext cx="10515600" cy="4351338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>
                <a:hlinkClick r:id="rId7"/>
              </a:rPr>
              <a:t>http://6843523c.ngrok.io/api-explorer/#/Projects/get_projects__lat___lon___radio_</a:t>
            </a:r>
            <a:endParaRPr lang="en-US" sz="2000" dirty="0"/>
          </a:p>
          <a:p>
            <a:pPr marL="0" indent="0">
              <a:buNone/>
            </a:pPr>
            <a:endParaRPr lang="es-MX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7FD21B3-92FA-4AE9-B282-BC245D65911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13632" y="2281375"/>
            <a:ext cx="8164735" cy="435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6609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FD20BD1-A052-416D-88D4-D1A9D0866F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061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B0AF15A-7CB3-44D6-AC7F-D816E3887D9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9" t="7684" r="2119" b="5324"/>
          <a:stretch/>
        </p:blipFill>
        <p:spPr>
          <a:xfrm>
            <a:off x="170481" y="526941"/>
            <a:ext cx="11763214" cy="5965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2688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C2CFD0-8A22-4717-9848-31648A432C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132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E141BC49-97A1-4D36-AACF-52393D9A900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693" t="23758" r="1716" b="27394"/>
          <a:stretch/>
        </p:blipFill>
        <p:spPr>
          <a:xfrm>
            <a:off x="451659" y="1753985"/>
            <a:ext cx="11288683" cy="335003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1FDE098-6A45-40B1-8C6B-936C1103C70D}"/>
              </a:ext>
            </a:extLst>
          </p:cNvPr>
          <p:cNvSpPr/>
          <p:nvPr/>
        </p:nvSpPr>
        <p:spPr>
          <a:xfrm>
            <a:off x="1739208" y="783766"/>
            <a:ext cx="180235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dirty="0">
                <a:hlinkClick r:id="rId7"/>
              </a:rPr>
              <a:t>https://talkbot.io</a:t>
            </a:r>
            <a:endParaRPr lang="es-ES" dirty="0"/>
          </a:p>
          <a:p>
            <a:endParaRPr lang="es-ES" dirty="0"/>
          </a:p>
        </p:txBody>
      </p:sp>
      <p:pic>
        <p:nvPicPr>
          <p:cNvPr id="6148" name="Picture 4" descr="Image result for talkbot">
            <a:extLst>
              <a:ext uri="{FF2B5EF4-FFF2-40B4-BE49-F238E27FC236}">
                <a16:creationId xmlns:a16="http://schemas.microsoft.com/office/drawing/2014/main" id="{829EB2C7-5353-493B-83B1-28C18D4866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870" y="438950"/>
            <a:ext cx="1317338" cy="1185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20A9BE8-C190-4E5C-BBBB-18622E76E184}"/>
              </a:ext>
            </a:extLst>
          </p:cNvPr>
          <p:cNvSpPr/>
          <p:nvPr/>
        </p:nvSpPr>
        <p:spPr>
          <a:xfrm>
            <a:off x="1561563" y="5695509"/>
            <a:ext cx="100348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>
                <a:hlinkClick r:id="rId9"/>
              </a:rPr>
              <a:t>https://www.facebook.com/Auditoría-Social-1219164281582731</a:t>
            </a:r>
            <a:endParaRPr lang="es-ES" dirty="0"/>
          </a:p>
          <a:p>
            <a:endParaRPr lang="es-ES" dirty="0"/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5CB2A877-BBE4-47B2-96CA-66F1E46AF303}"/>
              </a:ext>
            </a:extLst>
          </p:cNvPr>
          <p:cNvSpPr/>
          <p:nvPr/>
        </p:nvSpPr>
        <p:spPr>
          <a:xfrm>
            <a:off x="527858" y="5353396"/>
            <a:ext cx="947651" cy="77308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F704736-B143-434D-BF2C-7F7632DBA103}"/>
              </a:ext>
            </a:extLst>
          </p:cNvPr>
          <p:cNvSpPr txBox="1"/>
          <p:nvPr/>
        </p:nvSpPr>
        <p:spPr>
          <a:xfrm>
            <a:off x="1515533" y="5427903"/>
            <a:ext cx="8140700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s-ES" sz="1400" dirty="0"/>
              <a:t>Para probar el </a:t>
            </a:r>
            <a:r>
              <a:rPr lang="es-ES" sz="1400" dirty="0" err="1"/>
              <a:t>bot</a:t>
            </a:r>
            <a:r>
              <a:rPr lang="es-ES" sz="1400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6923387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E2F5A4-4294-4D63-9BD2-833E19FDE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MX" dirty="0"/>
              <a:t>Mucha información, en muchas fuentes, en diferentes momentos, con mucha gente</a:t>
            </a:r>
            <a:br>
              <a:rPr lang="en-US" dirty="0"/>
            </a:br>
            <a:endParaRPr lang="en-US" dirty="0"/>
          </a:p>
        </p:txBody>
      </p:sp>
      <p:pic>
        <p:nvPicPr>
          <p:cNvPr id="1030" name="Picture 6" descr="Resultado de imagen para gente">
            <a:extLst>
              <a:ext uri="{FF2B5EF4-FFF2-40B4-BE49-F238E27FC236}">
                <a16:creationId xmlns:a16="http://schemas.microsoft.com/office/drawing/2014/main" id="{2B993295-D90C-4256-B70D-15CF594536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5373" y="1825625"/>
            <a:ext cx="7246620" cy="5032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Imagen relacionada">
            <a:extLst>
              <a:ext uri="{FF2B5EF4-FFF2-40B4-BE49-F238E27FC236}">
                <a16:creationId xmlns:a16="http://schemas.microsoft.com/office/drawing/2014/main" id="{8167D972-432E-4D90-AE77-BF4DA27985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805526"/>
            <a:ext cx="4052474" cy="4052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Resultado de imagen para fuentes de informaciÃ³n">
            <a:extLst>
              <a:ext uri="{FF2B5EF4-FFF2-40B4-BE49-F238E27FC236}">
                <a16:creationId xmlns:a16="http://schemas.microsoft.com/office/drawing/2014/main" id="{42C26F11-D2FA-4D1F-A237-B655B21A45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1680" y="4492487"/>
            <a:ext cx="4390320" cy="2365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0635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EF3A075-936C-40B7-A433-5337CEA60A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8814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4914320-C5C1-4300-98EA-419A46F348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Objetivo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0C6BC7-10B6-4BF6-8B93-19EB6D551975}"/>
              </a:ext>
            </a:extLst>
          </p:cNvPr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>
            <a:normAutofit/>
          </a:bodyPr>
          <a:lstStyle/>
          <a:p>
            <a:pPr marL="742950" indent="-742950">
              <a:spcBef>
                <a:spcPct val="100000"/>
              </a:spcBef>
              <a:buFont typeface="+mj-lt"/>
              <a:buAutoNum type="arabicPeriod"/>
            </a:pPr>
            <a:r>
              <a:rPr lang="es-MX" sz="3600" dirty="0"/>
              <a:t>Enviar invitaciones a eventos y datos relacionados con la corrupción (</a:t>
            </a:r>
            <a:r>
              <a:rPr lang="es-MX" sz="3600" b="1" dirty="0"/>
              <a:t>sensibilización</a:t>
            </a:r>
            <a:r>
              <a:rPr lang="es-MX" sz="3600" dirty="0"/>
              <a:t>)</a:t>
            </a:r>
          </a:p>
          <a:p>
            <a:pPr marL="742950" indent="-742950">
              <a:spcBef>
                <a:spcPct val="100000"/>
              </a:spcBef>
              <a:buFont typeface="+mj-lt"/>
              <a:buAutoNum type="arabicPeriod"/>
            </a:pPr>
            <a:r>
              <a:rPr lang="es-MX" sz="3600" dirty="0"/>
              <a:t>Ofrecer una herramienta que permita a la ciudadanía colaborar en la auditoría de obra pública, reportando el estado de las obras (</a:t>
            </a:r>
            <a:r>
              <a:rPr lang="es-MX" sz="3600" b="1" dirty="0"/>
              <a:t>participación</a:t>
            </a:r>
            <a:r>
              <a:rPr lang="es-MX" sz="3600" dirty="0"/>
              <a:t>) </a:t>
            </a:r>
          </a:p>
        </p:txBody>
      </p:sp>
    </p:spTree>
    <p:extLst>
      <p:ext uri="{BB962C8B-B14F-4D97-AF65-F5344CB8AC3E}">
        <p14:creationId xmlns:p14="http://schemas.microsoft.com/office/powerpoint/2010/main" val="18801706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4EA19E-0C22-4FF2-BFF6-543CAB72E2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aso de uso.</a:t>
            </a:r>
            <a:br>
              <a:rPr lang="es-MX" dirty="0"/>
            </a:br>
            <a:r>
              <a:rPr lang="es-MX" dirty="0"/>
              <a:t>Jennifer Lawrence va a comer a la Condesa</a:t>
            </a:r>
            <a:endParaRPr lang="en-US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952BF00-C4B6-4945-BA19-5E031ADD415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3432" y="2006254"/>
            <a:ext cx="7612503" cy="4851746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6636F25-4873-41F4-A56C-7742989325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7536" y="4332648"/>
            <a:ext cx="2084294" cy="2525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6194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F88D0D-5A65-41FF-8732-25CC711308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MX" sz="4000" dirty="0"/>
              <a:t>Recibe una invitación del </a:t>
            </a:r>
            <a:br>
              <a:rPr lang="es-MX" sz="4000" dirty="0"/>
            </a:br>
            <a:r>
              <a:rPr lang="es-MX" sz="4000" dirty="0" err="1"/>
              <a:t>bot</a:t>
            </a:r>
            <a:r>
              <a:rPr lang="es-MX" sz="4000" dirty="0"/>
              <a:t> de Auditoría Social</a:t>
            </a:r>
            <a:endParaRPr lang="en-US" sz="4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CD79D9-E28B-4D0F-A65B-25089B59EE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6394" y="123443"/>
            <a:ext cx="3716893" cy="661111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B0E3944-201F-4C77-BEA3-6DE94086D97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696" t="37406" r="59674" b="14461"/>
          <a:stretch/>
        </p:blipFill>
        <p:spPr>
          <a:xfrm>
            <a:off x="3034749" y="2302418"/>
            <a:ext cx="2716695" cy="4190457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832760-5594-42FB-B1E3-56544C98DD99}"/>
              </a:ext>
            </a:extLst>
          </p:cNvPr>
          <p:cNvCxnSpPr/>
          <p:nvPr/>
        </p:nvCxnSpPr>
        <p:spPr>
          <a:xfrm flipV="1">
            <a:off x="5777948" y="123443"/>
            <a:ext cx="1398446" cy="21691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77994BA-617C-4CA4-92AB-8B995662156D}"/>
              </a:ext>
            </a:extLst>
          </p:cNvPr>
          <p:cNvCxnSpPr/>
          <p:nvPr/>
        </p:nvCxnSpPr>
        <p:spPr>
          <a:xfrm>
            <a:off x="5751444" y="6492875"/>
            <a:ext cx="1424950" cy="24168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94226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83D87B-0002-4C98-AFCD-2B44670828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Misión cumplida</a:t>
            </a:r>
            <a:endParaRPr lang="en-US" dirty="0"/>
          </a:p>
        </p:txBody>
      </p:sp>
      <p:pic>
        <p:nvPicPr>
          <p:cNvPr id="4" name="Content Placeholder 4">
            <a:extLst>
              <a:ext uri="{FF2B5EF4-FFF2-40B4-BE49-F238E27FC236}">
                <a16:creationId xmlns:a16="http://schemas.microsoft.com/office/drawing/2014/main" id="{491DA400-A389-4079-8CF3-E32E45EC43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693341"/>
            <a:ext cx="2991678" cy="4483622"/>
          </a:xfrm>
          <a:prstGeom prst="rect">
            <a:avLst/>
          </a:prstGeom>
        </p:spPr>
      </p:pic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AD85E37C-496B-4B3D-90D7-94604B108E6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7393" y="1484243"/>
            <a:ext cx="8344607" cy="4692720"/>
          </a:xfrm>
        </p:spPr>
      </p:pic>
    </p:spTree>
    <p:extLst>
      <p:ext uri="{BB962C8B-B14F-4D97-AF65-F5344CB8AC3E}">
        <p14:creationId xmlns:p14="http://schemas.microsoft.com/office/powerpoint/2010/main" val="10866239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5BCB16-0AC1-480B-82F6-2B08A6A329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Jennifer invita a sus amigos a participar en Auditoría Socia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CE4F6F-B557-44ED-90CB-47A20084FF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F1CEC8B-781C-4ED7-90F5-5DEBE901C9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6794" y="2506662"/>
            <a:ext cx="6527006" cy="435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6225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366C20-04F3-404D-9D1A-A5383AEFFA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Gracia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58ED428-6794-4A48-9758-AB711E293D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6078" y="2262808"/>
            <a:ext cx="5313610" cy="298850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DFF8F29-C1AC-487C-A5D8-0578A86F782D}"/>
              </a:ext>
            </a:extLst>
          </p:cNvPr>
          <p:cNvSpPr/>
          <p:nvPr/>
        </p:nvSpPr>
        <p:spPr>
          <a:xfrm rot="21081183">
            <a:off x="4472198" y="2588517"/>
            <a:ext cx="1733936" cy="12360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2000" dirty="0">
                <a:solidFill>
                  <a:schemeClr val="tx1"/>
                </a:solidFill>
              </a:rPr>
              <a:t>Participen en Auditoría Social, </a:t>
            </a:r>
            <a:r>
              <a:rPr lang="es-MX" sz="2000" dirty="0" err="1">
                <a:solidFill>
                  <a:schemeClr val="tx1"/>
                </a:solidFill>
              </a:rPr>
              <a:t>babies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0F65C76-A576-4D8B-BE56-B287943806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69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0D730F-B0B3-4073-BD1B-FAE50FA6B4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Factores de diferenciació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1A3BB5-1788-4AA9-9462-4A54E964AB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MX" dirty="0"/>
              <a:t>Baja barrera de entrada (no hace falta descargar una aplicación)</a:t>
            </a:r>
          </a:p>
          <a:p>
            <a:r>
              <a:rPr lang="es-MX" dirty="0"/>
              <a:t>Promueve la participación local (toma la ubicación del usuario para personalizar la experiencia)</a:t>
            </a:r>
          </a:p>
          <a:p>
            <a:r>
              <a:rPr lang="es-MX" dirty="0" err="1"/>
              <a:t>Gamification</a:t>
            </a:r>
            <a:endParaRPr lang="es-MX" dirty="0"/>
          </a:p>
          <a:p>
            <a:r>
              <a:rPr lang="es-MX" dirty="0"/>
              <a:t>Notificar a las instituciones correspondientes</a:t>
            </a:r>
          </a:p>
          <a:p>
            <a:r>
              <a:rPr lang="es-MX" dirty="0"/>
              <a:t>Mayor integración con todas las redes sociales (vs. solo Twitter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93314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BTACCENT" val="BackgroundColorBoldText"/>
  <p:tag name="PREVIOUSNAME" val="C:\Users\Pere Molins\Downloads\Auditoría Digital 181208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5w3KwvQ.yVC0nXjQ9f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MZ4MlATXC6ralMs5N9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7i6SEmT1GsIYbSYvQ16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9</TotalTime>
  <Words>177</Words>
  <Application>Microsoft Office PowerPoint</Application>
  <PresentationFormat>Widescreen</PresentationFormat>
  <Paragraphs>24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alibri</vt:lpstr>
      <vt:lpstr>Calibri Light</vt:lpstr>
      <vt:lpstr>Office Theme</vt:lpstr>
      <vt:lpstr>think-cell Slide</vt:lpstr>
      <vt:lpstr>Auditoría Social</vt:lpstr>
      <vt:lpstr>Mucha información, en muchas fuentes, en diferentes momentos, con mucha gente </vt:lpstr>
      <vt:lpstr>Objetivos</vt:lpstr>
      <vt:lpstr>Caso de uso. Jennifer Lawrence va a comer a la Condesa</vt:lpstr>
      <vt:lpstr>Recibe una invitación del  bot de Auditoría Social</vt:lpstr>
      <vt:lpstr>Misión cumplida</vt:lpstr>
      <vt:lpstr>Jennifer invita a sus amigos a participar en Auditoría Social</vt:lpstr>
      <vt:lpstr>Gracias</vt:lpstr>
      <vt:lpstr>Factores de diferenciación</vt:lpstr>
      <vt:lpstr>Arquitectura</vt:lpstr>
      <vt:lpstr>API pública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ditoría Digital</dc:title>
  <dc:creator>Francisco Rodriguez</dc:creator>
  <cp:lastModifiedBy>Pere Molins</cp:lastModifiedBy>
  <cp:revision>40</cp:revision>
  <dcterms:created xsi:type="dcterms:W3CDTF">2018-12-08T19:14:03Z</dcterms:created>
  <dcterms:modified xsi:type="dcterms:W3CDTF">2018-12-11T00:15:06Z</dcterms:modified>
</cp:coreProperties>
</file>